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5"/>
  </p:notesMasterIdLst>
  <p:handoutMasterIdLst>
    <p:handoutMasterId r:id="rId6"/>
  </p:handoutMasterIdLst>
  <p:sldIdLst>
    <p:sldId id="344" r:id="rId4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CA4815-C885-9923-BB78-CB2637D354D3}" v="1065" dt="2020-09-25T00:32:25.9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98" d="100"/>
          <a:sy n="98" d="100"/>
        </p:scale>
        <p:origin x="3150" y="72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24/09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24/09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#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#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#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2354402" cy="125213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5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</a:rPr>
              <a:t>TELEMON – REUNIÃO DE RETROSPECTIVA (24/09)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806951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31432" y="810110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767275" y="743025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725530" y="1941775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49969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CLIENTE LINUX</a:t>
            </a:r>
            <a:endParaRPr lang="pt-BR" sz="15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39172" y="526228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49969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DELIMITAÇÃO DO TEMA DO PROJETO</a:t>
            </a:r>
            <a:endParaRPr lang="pt-BR" sz="15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948173" y="1955331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EXPLICAÇÃO DO CLIENTE LINUX</a:t>
            </a:r>
            <a:endParaRPr lang="pt-BR" sz="15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948966" y="505146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OFICIALIZAÇÃO DAS DATAS DE REUNIÕE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767660" y="336055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49969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DIVISÃO DE TAREFAS  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128148" y="2593551"/>
            <a:ext cx="1957746" cy="8836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TRABALHO EM EQUIPE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075158" y="1306965"/>
            <a:ext cx="2136884" cy="8836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ENTREGA DO PROJETO PONTUAL</a:t>
            </a:r>
            <a:endParaRPr lang="pt-BR" sz="15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6">
            <a:extLst>
              <a:ext uri="{FF2B5EF4-FFF2-40B4-BE49-F238E27FC236}">
                <a16:creationId xmlns:a16="http://schemas.microsoft.com/office/drawing/2014/main" id="{46A22C95-F4A3-4B83-9B9A-9FF23EA9983F}"/>
              </a:ext>
            </a:extLst>
          </p:cNvPr>
          <p:cNvSpPr/>
          <p:nvPr/>
        </p:nvSpPr>
        <p:spPr>
          <a:xfrm>
            <a:off x="4951554" y="3472230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ALGUMAS FALHAS DE COMUNICAÇÃO</a:t>
            </a:r>
            <a:endParaRPr lang="pt-BR" sz="15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0" name="Retângulo 26">
            <a:extLst>
              <a:ext uri="{FF2B5EF4-FFF2-40B4-BE49-F238E27FC236}">
                <a16:creationId xmlns:a16="http://schemas.microsoft.com/office/drawing/2014/main" id="{C5DADC36-3606-497F-8F7E-DF0D9C021A08}"/>
              </a:ext>
            </a:extLst>
          </p:cNvPr>
          <p:cNvSpPr/>
          <p:nvPr/>
        </p:nvSpPr>
        <p:spPr>
          <a:xfrm>
            <a:off x="9095277" y="5805713"/>
            <a:ext cx="1960141" cy="8836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BOA APRESENTAÇÃO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etângulo 26">
            <a:extLst>
              <a:ext uri="{FF2B5EF4-FFF2-40B4-BE49-F238E27FC236}">
                <a16:creationId xmlns:a16="http://schemas.microsoft.com/office/drawing/2014/main" id="{E6D0108F-ADBA-4B69-BAED-48C5B286A033}"/>
              </a:ext>
            </a:extLst>
          </p:cNvPr>
          <p:cNvSpPr/>
          <p:nvPr/>
        </p:nvSpPr>
        <p:spPr>
          <a:xfrm>
            <a:off x="9130228" y="4340761"/>
            <a:ext cx="2095298" cy="8836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500" dirty="0">
                <a:solidFill>
                  <a:schemeClr val="tx1"/>
                </a:solidFill>
                <a:latin typeface="MV Boli"/>
                <a:cs typeface="MV Boli"/>
              </a:rPr>
              <a:t>BOA CONVIVÊNCIA</a:t>
            </a:r>
          </a:p>
        </p:txBody>
      </p:sp>
      <p:sp>
        <p:nvSpPr>
          <p:cNvPr id="10" name="Retângulo 18">
            <a:extLst>
              <a:ext uri="{FF2B5EF4-FFF2-40B4-BE49-F238E27FC236}">
                <a16:creationId xmlns:a16="http://schemas.microsoft.com/office/drawing/2014/main" id="{24A602D6-9E32-45C9-A905-0C4349139FD3}"/>
              </a:ext>
            </a:extLst>
          </p:cNvPr>
          <p:cNvSpPr/>
          <p:nvPr/>
        </p:nvSpPr>
        <p:spPr>
          <a:xfrm>
            <a:off x="2337816" y="1750871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REVISAR OS COMANDOS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4" name="Retângulo 19">
            <a:extLst>
              <a:ext uri="{FF2B5EF4-FFF2-40B4-BE49-F238E27FC236}">
                <a16:creationId xmlns:a16="http://schemas.microsoft.com/office/drawing/2014/main" id="{FE3AEEBA-C67E-4DCC-9FA1-0C50CEB24727}"/>
              </a:ext>
            </a:extLst>
          </p:cNvPr>
          <p:cNvSpPr/>
          <p:nvPr/>
        </p:nvSpPr>
        <p:spPr>
          <a:xfrm>
            <a:off x="2341285" y="2457467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TESTAR E ENTENDER NOVOS COMANDOS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4" name="Retângulo 18">
            <a:extLst>
              <a:ext uri="{FF2B5EF4-FFF2-40B4-BE49-F238E27FC236}">
                <a16:creationId xmlns:a16="http://schemas.microsoft.com/office/drawing/2014/main" id="{BD5BACC3-D9CA-4CC7-8257-E548CD9786F3}"/>
              </a:ext>
            </a:extLst>
          </p:cNvPr>
          <p:cNvSpPr/>
          <p:nvPr/>
        </p:nvSpPr>
        <p:spPr>
          <a:xfrm>
            <a:off x="2254730" y="3267770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SPRINT REVIEW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6" name="Retângulo 18">
            <a:extLst>
              <a:ext uri="{FF2B5EF4-FFF2-40B4-BE49-F238E27FC236}">
                <a16:creationId xmlns:a16="http://schemas.microsoft.com/office/drawing/2014/main" id="{054AD681-0CAF-4510-B33C-F04E1F6BE3F2}"/>
              </a:ext>
            </a:extLst>
          </p:cNvPr>
          <p:cNvSpPr/>
          <p:nvPr/>
        </p:nvSpPr>
        <p:spPr>
          <a:xfrm>
            <a:off x="2255722" y="4005440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 FRAGMENTAR ATIVIDADES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7" name="Retângulo 18">
            <a:extLst>
              <a:ext uri="{FF2B5EF4-FFF2-40B4-BE49-F238E27FC236}">
                <a16:creationId xmlns:a16="http://schemas.microsoft.com/office/drawing/2014/main" id="{C5576AC9-6FE4-447D-BD4F-2FF9F12EC777}"/>
              </a:ext>
            </a:extLst>
          </p:cNvPr>
          <p:cNvSpPr/>
          <p:nvPr/>
        </p:nvSpPr>
        <p:spPr>
          <a:xfrm>
            <a:off x="231397" y="4140506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SEPARAR EM DUPLA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Retângulo 18">
            <a:extLst>
              <a:ext uri="{FF2B5EF4-FFF2-40B4-BE49-F238E27FC236}">
                <a16:creationId xmlns:a16="http://schemas.microsoft.com/office/drawing/2014/main" id="{4272BC0F-D4EA-4351-82B6-4396C3814986}"/>
              </a:ext>
            </a:extLst>
          </p:cNvPr>
          <p:cNvSpPr/>
          <p:nvPr/>
        </p:nvSpPr>
        <p:spPr>
          <a:xfrm>
            <a:off x="2069825" y="5106749"/>
            <a:ext cx="1968133" cy="702772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PESQUISAR POR DEMANDA DE MERCADO</a:t>
            </a:r>
            <a:endParaRPr lang="pt-BR" sz="14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30" name="Retângulo 18">
            <a:extLst>
              <a:ext uri="{FF2B5EF4-FFF2-40B4-BE49-F238E27FC236}">
                <a16:creationId xmlns:a16="http://schemas.microsoft.com/office/drawing/2014/main" id="{47FB2808-1607-451C-902B-B738508FB84F}"/>
              </a:ext>
            </a:extLst>
          </p:cNvPr>
          <p:cNvSpPr/>
          <p:nvPr/>
        </p:nvSpPr>
        <p:spPr>
          <a:xfrm>
            <a:off x="2059494" y="5927537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BUSCAR AJUDA COM QUEM ENTENDE</a:t>
            </a:r>
            <a:endParaRPr lang="pt-BR" sz="14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31" name="Retângulo 18">
            <a:extLst>
              <a:ext uri="{FF2B5EF4-FFF2-40B4-BE49-F238E27FC236}">
                <a16:creationId xmlns:a16="http://schemas.microsoft.com/office/drawing/2014/main" id="{7E6CD631-32BF-4458-ABDF-E35CAE7C270C}"/>
              </a:ext>
            </a:extLst>
          </p:cNvPr>
          <p:cNvSpPr/>
          <p:nvPr/>
        </p:nvSpPr>
        <p:spPr>
          <a:xfrm>
            <a:off x="6556590" y="1688532"/>
            <a:ext cx="1968133" cy="702772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ESTUDAR E </a:t>
            </a:r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TREINAR MAIS VEZES</a:t>
            </a:r>
          </a:p>
        </p:txBody>
      </p:sp>
      <p:sp>
        <p:nvSpPr>
          <p:cNvPr id="35" name="Retângulo 18">
            <a:extLst>
              <a:ext uri="{FF2B5EF4-FFF2-40B4-BE49-F238E27FC236}">
                <a16:creationId xmlns:a16="http://schemas.microsoft.com/office/drawing/2014/main" id="{D52F150B-2246-44ED-B8C3-41E2F39FC69D}"/>
              </a:ext>
            </a:extLst>
          </p:cNvPr>
          <p:cNvSpPr/>
          <p:nvPr/>
        </p:nvSpPr>
        <p:spPr>
          <a:xfrm>
            <a:off x="6546379" y="4732719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COMBINAR HORÁRIOS FIXOS</a:t>
            </a:r>
          </a:p>
        </p:txBody>
      </p:sp>
      <p:sp>
        <p:nvSpPr>
          <p:cNvPr id="39" name="Retângulo 18">
            <a:extLst>
              <a:ext uri="{FF2B5EF4-FFF2-40B4-BE49-F238E27FC236}">
                <a16:creationId xmlns:a16="http://schemas.microsoft.com/office/drawing/2014/main" id="{EAB21E5F-9F03-469A-8229-255BB6F4248A}"/>
              </a:ext>
            </a:extLst>
          </p:cNvPr>
          <p:cNvSpPr/>
          <p:nvPr/>
        </p:nvSpPr>
        <p:spPr>
          <a:xfrm>
            <a:off x="6545963" y="3589851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INCENTIVAR TODOS A PARTICIPAR</a:t>
            </a:r>
          </a:p>
        </p:txBody>
      </p:sp>
      <p:sp>
        <p:nvSpPr>
          <p:cNvPr id="40" name="Retângulo 18">
            <a:extLst>
              <a:ext uri="{FF2B5EF4-FFF2-40B4-BE49-F238E27FC236}">
                <a16:creationId xmlns:a16="http://schemas.microsoft.com/office/drawing/2014/main" id="{2590631A-A663-4C75-8457-4B28564E8EAC}"/>
              </a:ext>
            </a:extLst>
          </p:cNvPr>
          <p:cNvSpPr/>
          <p:nvPr/>
        </p:nvSpPr>
        <p:spPr>
          <a:xfrm>
            <a:off x="9194342" y="1480737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FAZER AS TAREFAS PROATIVAMENTE</a:t>
            </a:r>
            <a:endParaRPr lang="pt-BR" sz="14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41" name="Retângulo 18">
            <a:extLst>
              <a:ext uri="{FF2B5EF4-FFF2-40B4-BE49-F238E27FC236}">
                <a16:creationId xmlns:a16="http://schemas.microsoft.com/office/drawing/2014/main" id="{98EDF434-D5CC-4C84-B65D-11A0CF4AC314}"/>
              </a:ext>
            </a:extLst>
          </p:cNvPr>
          <p:cNvSpPr/>
          <p:nvPr/>
        </p:nvSpPr>
        <p:spPr>
          <a:xfrm>
            <a:off x="10963452" y="2322305"/>
            <a:ext cx="196813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MANTER O GITHUB ATUALIZADO</a:t>
            </a:r>
            <a:endParaRPr lang="pt-BR" sz="14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42" name="Retângulo 18">
            <a:extLst>
              <a:ext uri="{FF2B5EF4-FFF2-40B4-BE49-F238E27FC236}">
                <a16:creationId xmlns:a16="http://schemas.microsoft.com/office/drawing/2014/main" id="{07BA6261-EA2C-4681-B777-C4A9E6F4858F}"/>
              </a:ext>
            </a:extLst>
          </p:cNvPr>
          <p:cNvSpPr/>
          <p:nvPr/>
        </p:nvSpPr>
        <p:spPr>
          <a:xfrm>
            <a:off x="10936463" y="3039195"/>
            <a:ext cx="2103290" cy="869183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COMUNICAR AO GRUPO SOBRE AS </a:t>
            </a:r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MUDANÇAS OU ATUALIZAÇÕES</a:t>
            </a:r>
          </a:p>
        </p:txBody>
      </p:sp>
      <p:sp>
        <p:nvSpPr>
          <p:cNvPr id="43" name="Retângulo 18">
            <a:extLst>
              <a:ext uri="{FF2B5EF4-FFF2-40B4-BE49-F238E27FC236}">
                <a16:creationId xmlns:a16="http://schemas.microsoft.com/office/drawing/2014/main" id="{BC2A1D67-160D-4041-9614-AB5B8D85B0DA}"/>
              </a:ext>
            </a:extLst>
          </p:cNvPr>
          <p:cNvSpPr/>
          <p:nvPr/>
        </p:nvSpPr>
        <p:spPr>
          <a:xfrm>
            <a:off x="11165005" y="4202843"/>
            <a:ext cx="1968133" cy="88998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RESPEITAR IDEIAS E OPINIÕES DE TODOS </a:t>
            </a:r>
            <a:r>
              <a:rPr lang="pt-BR" sz="1400" dirty="0">
                <a:solidFill>
                  <a:schemeClr val="tx1"/>
                </a:solidFill>
                <a:latin typeface="MV Boli"/>
                <a:cs typeface="MV Boli"/>
              </a:rPr>
              <a:t>OS MEMBROS</a:t>
            </a:r>
          </a:p>
        </p:txBody>
      </p:sp>
      <p:sp>
        <p:nvSpPr>
          <p:cNvPr id="44" name="Retângulo 18">
            <a:extLst>
              <a:ext uri="{FF2B5EF4-FFF2-40B4-BE49-F238E27FC236}">
                <a16:creationId xmlns:a16="http://schemas.microsoft.com/office/drawing/2014/main" id="{910D3CA9-9D2A-42C1-9AA4-31B07C41183C}"/>
              </a:ext>
            </a:extLst>
          </p:cNvPr>
          <p:cNvSpPr/>
          <p:nvPr/>
        </p:nvSpPr>
        <p:spPr>
          <a:xfrm>
            <a:off x="10940741" y="5740522"/>
            <a:ext cx="1968133" cy="88998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BR" sz="1400">
                <a:solidFill>
                  <a:schemeClr val="tx1"/>
                </a:solidFill>
                <a:latin typeface="MV Boli"/>
                <a:cs typeface="MV Boli"/>
              </a:rPr>
              <a:t>ENSAIAR EM GRUPO E INDIVIDUALMENTE</a:t>
            </a:r>
            <a:endParaRPr lang="pt-BR" sz="14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39</TotalTime>
  <Words>106</Words>
  <Application>Microsoft Office PowerPoint</Application>
  <PresentationFormat>Custom</PresentationFormat>
  <Paragraphs>45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Capas</vt:lpstr>
      <vt:lpstr>Conteúdo</vt:lpstr>
      <vt:lpstr>Encerramento / Agradecimento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Gerson Santos</cp:lastModifiedBy>
  <cp:revision>549</cp:revision>
  <dcterms:created xsi:type="dcterms:W3CDTF">2016-12-01T16:19:35Z</dcterms:created>
  <dcterms:modified xsi:type="dcterms:W3CDTF">2020-09-25T00:32:46Z</dcterms:modified>
</cp:coreProperties>
</file>